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4"/>
  </p:notesMasterIdLst>
  <p:sldIdLst>
    <p:sldId id="275" r:id="rId2"/>
    <p:sldId id="272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290" r:id="rId11"/>
    <p:sldId id="310" r:id="rId12"/>
    <p:sldId id="291" r:id="rId13"/>
    <p:sldId id="311" r:id="rId14"/>
    <p:sldId id="282" r:id="rId15"/>
    <p:sldId id="283" r:id="rId16"/>
    <p:sldId id="324" r:id="rId17"/>
    <p:sldId id="284" r:id="rId18"/>
    <p:sldId id="285" r:id="rId19"/>
    <p:sldId id="286" r:id="rId20"/>
    <p:sldId id="294" r:id="rId21"/>
    <p:sldId id="318" r:id="rId22"/>
    <p:sldId id="319" r:id="rId23"/>
    <p:sldId id="295" r:id="rId24"/>
    <p:sldId id="320" r:id="rId25"/>
    <p:sldId id="321" r:id="rId26"/>
    <p:sldId id="322" r:id="rId27"/>
    <p:sldId id="296" r:id="rId28"/>
    <p:sldId id="302" r:id="rId29"/>
    <p:sldId id="325" r:id="rId30"/>
    <p:sldId id="327" r:id="rId31"/>
    <p:sldId id="328" r:id="rId32"/>
    <p:sldId id="329" r:id="rId33"/>
    <p:sldId id="330" r:id="rId34"/>
    <p:sldId id="326" r:id="rId35"/>
    <p:sldId id="332" r:id="rId36"/>
    <p:sldId id="333" r:id="rId37"/>
    <p:sldId id="323" r:id="rId38"/>
    <p:sldId id="334" r:id="rId39"/>
    <p:sldId id="335" r:id="rId40"/>
    <p:sldId id="337" r:id="rId41"/>
    <p:sldId id="342" r:id="rId42"/>
    <p:sldId id="338" r:id="rId43"/>
    <p:sldId id="339" r:id="rId44"/>
    <p:sldId id="340" r:id="rId45"/>
    <p:sldId id="336" r:id="rId46"/>
    <p:sldId id="341" r:id="rId47"/>
    <p:sldId id="344" r:id="rId48"/>
    <p:sldId id="345" r:id="rId49"/>
    <p:sldId id="346" r:id="rId50"/>
    <p:sldId id="350" r:id="rId51"/>
    <p:sldId id="347" r:id="rId52"/>
    <p:sldId id="354" r:id="rId53"/>
    <p:sldId id="349" r:id="rId54"/>
    <p:sldId id="308" r:id="rId55"/>
    <p:sldId id="351" r:id="rId56"/>
    <p:sldId id="352" r:id="rId57"/>
    <p:sldId id="353" r:id="rId58"/>
    <p:sldId id="348" r:id="rId59"/>
    <p:sldId id="356" r:id="rId60"/>
    <p:sldId id="357" r:id="rId61"/>
    <p:sldId id="384" r:id="rId62"/>
    <p:sldId id="362" r:id="rId63"/>
    <p:sldId id="386" r:id="rId64"/>
    <p:sldId id="364" r:id="rId65"/>
    <p:sldId id="385" r:id="rId66"/>
    <p:sldId id="365" r:id="rId67"/>
    <p:sldId id="387" r:id="rId68"/>
    <p:sldId id="367" r:id="rId69"/>
    <p:sldId id="368" r:id="rId70"/>
    <p:sldId id="390" r:id="rId71"/>
    <p:sldId id="370" r:id="rId72"/>
    <p:sldId id="371" r:id="rId73"/>
    <p:sldId id="389" r:id="rId74"/>
    <p:sldId id="383" r:id="rId75"/>
    <p:sldId id="391" r:id="rId76"/>
    <p:sldId id="392" r:id="rId77"/>
    <p:sldId id="372" r:id="rId78"/>
    <p:sldId id="373" r:id="rId79"/>
    <p:sldId id="374" r:id="rId80"/>
    <p:sldId id="394" r:id="rId81"/>
    <p:sldId id="306" r:id="rId82"/>
    <p:sldId id="393" r:id="rId8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14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notesMaster" Target="notesMasters/notesMaster1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7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822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950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367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2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22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hyperlink" Target="http://people.duke.edu/~rnau/411arim.htm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2E8B3EC-A6EA-4A9A-BD50-A449FD12F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1404D07-3084-4BF1-86CD-528694A3F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Amtrak Ridersh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8BB0945-95C9-49F8-B9E6-A34EBFF69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B87E7B9-D417-40B8-BA6F-DE7BA6BD7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8AB4C213-F430-4405-AF10-D519300841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3809617"/>
            <a:ext cx="4972050" cy="2630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3238EDDF-C9E2-41DF-AAE5-8E0F2B87C33C}"/>
              </a:ext>
            </a:extLst>
          </p:cNvPr>
          <p:cNvSpPr txBox="1">
            <a:spLocks/>
          </p:cNvSpPr>
          <p:nvPr/>
        </p:nvSpPr>
        <p:spPr>
          <a:xfrm>
            <a:off x="762000" y="1752600"/>
            <a:ext cx="7772400" cy="1676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r>
              <a:rPr lang="en-US" b="1"/>
              <a:t>Appears to have U-shaped tren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37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=""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=""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=""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</a:t>
            </a:r>
            <a:r>
              <a:rPr lang="en-US" dirty="0" smtClean="0"/>
              <a:t>Mar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6107931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636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10" name="Rectangle 9"/>
          <p:cNvSpPr/>
          <p:nvPr/>
        </p:nvSpPr>
        <p:spPr>
          <a:xfrm>
            <a:off x="271463" y="1243013"/>
            <a:ext cx="8415337" cy="5000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esides revenue, where else would a forecast benefit a company?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929188" y="2043107"/>
            <a:ext cx="0" cy="40005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429251" y="2128847"/>
            <a:ext cx="3171825" cy="542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ecasting has become more widespread in business.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29251" y="2857500"/>
            <a:ext cx="32575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065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pecting meta </a:t>
            </a:r>
            <a:r>
              <a:rPr lang="en-US" dirty="0"/>
              <a:t>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71463" y="117157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ased on the stock you chose, what meta data did you observe?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Trend? Level? Seasonal or seemingly random noise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788" y="2185987"/>
            <a:ext cx="3319462" cy="26384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6350" y="2224090"/>
            <a:ext cx="3300413" cy="26343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152401" y="5414963"/>
            <a:ext cx="8415337" cy="8286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</a:t>
            </a:r>
            <a:r>
              <a:rPr lang="en-US" dirty="0" smtClean="0">
                <a:solidFill>
                  <a:schemeClr val="bg1"/>
                </a:solidFill>
              </a:rPr>
              <a:t>orecasting </a:t>
            </a:r>
            <a:r>
              <a:rPr lang="en-US" dirty="0">
                <a:solidFill>
                  <a:schemeClr val="bg1"/>
                </a:solidFill>
              </a:rPr>
              <a:t>starts with using visualizing to understand </a:t>
            </a:r>
            <a:r>
              <a:rPr lang="en-US" u="sng" dirty="0">
                <a:solidFill>
                  <a:schemeClr val="bg1"/>
                </a:solidFill>
              </a:rPr>
              <a:t>“</a:t>
            </a:r>
            <a:r>
              <a:rPr lang="en-US" u="sng" dirty="0" smtClean="0">
                <a:solidFill>
                  <a:schemeClr val="bg1"/>
                </a:solidFill>
              </a:rPr>
              <a:t>metadata”</a:t>
            </a:r>
            <a:r>
              <a:rPr lang="en-US" dirty="0" smtClean="0">
                <a:solidFill>
                  <a:schemeClr val="bg1"/>
                </a:solidFill>
              </a:rPr>
              <a:t>.  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*In many instances we do not know the causal inputs or have data readily available </a:t>
            </a:r>
            <a:r>
              <a:rPr lang="en-US" sz="1200" dirty="0" smtClean="0">
                <a:solidFill>
                  <a:schemeClr val="bg1"/>
                </a:solidFill>
              </a:rPr>
              <a:t>to explain what we observe.</a:t>
            </a: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69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CVS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5913" y="1557336"/>
            <a:ext cx="5314950" cy="42245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329558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7598078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Break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4748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5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726" y="1610435"/>
            <a:ext cx="5208799" cy="4366973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Drif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2" y="1992574"/>
            <a:ext cx="2861767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average change in data starting with last value.</a:t>
            </a:r>
            <a:endParaRPr lang="en-US" dirty="0"/>
          </a:p>
          <a:p>
            <a:r>
              <a:rPr lang="en-US" dirty="0"/>
              <a:t>Good if </a:t>
            </a:r>
            <a:r>
              <a:rPr lang="en-US" dirty="0" smtClean="0"/>
              <a:t>trend but no seasonality.  Extends from last point in cycl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2" y="3553033"/>
            <a:ext cx="2876055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904630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8993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Now notice the drift now comes from the lower point in the cycle this tim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re 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</a:t>
            </a:r>
            <a:r>
              <a:rPr lang="en-US" dirty="0" smtClean="0"/>
              <a:t>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The distribution advances to the next forecast to make the new prediction intervals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1" t="11922"/>
          <a:stretch/>
        </p:blipFill>
        <p:spPr bwMode="auto">
          <a:xfrm rot="5400000">
            <a:off x="1282570" y="3272439"/>
            <a:ext cx="4969040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3158873" y="2636458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3149041" y="4691028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3149041" y="3466517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3274403" y="3545305"/>
            <a:ext cx="2468671" cy="1208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3284235" y="2699139"/>
            <a:ext cx="2490923" cy="50928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20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7174473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 Series Decomposition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Break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970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Trend + Cyclical 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the difference between </a:t>
            </a:r>
            <a:r>
              <a:rPr lang="en-US" sz="1600" dirty="0" smtClean="0"/>
              <a:t>each time period is </a:t>
            </a:r>
            <a:r>
              <a:rPr lang="en-US" sz="1600" dirty="0"/>
              <a:t>approximately the </a:t>
            </a:r>
            <a:r>
              <a:rPr lang="en-US" sz="1600" dirty="0" smtClean="0"/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 dirty="0"/>
              <a:t>Trend </a:t>
            </a:r>
            <a:r>
              <a:rPr lang="en-US" sz="1600" dirty="0" smtClean="0"/>
              <a:t>X </a:t>
            </a:r>
            <a:r>
              <a:rPr lang="en-US" sz="1600" dirty="0"/>
              <a:t>Cyclical </a:t>
            </a:r>
            <a:r>
              <a:rPr lang="en-US" sz="1600" dirty="0" smtClean="0"/>
              <a:t>X Residual</a:t>
            </a:r>
          </a:p>
          <a:p>
            <a:r>
              <a:rPr lang="en-US" sz="1600" dirty="0" smtClean="0"/>
              <a:t>A multiplicative model assumes changes are proportional and not constant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sonal Adjust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6066" y="1314450"/>
            <a:ext cx="81622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 smtClean="0"/>
              <a:t>One useful by-product from decomposition is the ability to de-season data.</a:t>
            </a:r>
            <a:endParaRPr lang="en-US" sz="2000" b="1" u="sng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26041" y="2143114"/>
            <a:ext cx="3491918" cy="2450583"/>
            <a:chOff x="2667000" y="2371719"/>
            <a:chExt cx="3491918" cy="2450583"/>
          </a:xfrm>
        </p:grpSpPr>
        <p:sp>
          <p:nvSpPr>
            <p:cNvPr id="8" name="TextBox 7"/>
            <p:cNvSpPr txBox="1"/>
            <p:nvPr/>
          </p:nvSpPr>
          <p:spPr>
            <a:xfrm>
              <a:off x="2824768" y="2671736"/>
              <a:ext cx="317638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-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 smtClean="0"/>
                <a:t>+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19056" y="2371719"/>
              <a:ext cx="29878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dditive Seasonal Adjustment</a:t>
              </a:r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795914" y="4052861"/>
              <a:ext cx="3221266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/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/>
                <a:t>*</a:t>
              </a:r>
              <a:r>
                <a:rPr lang="en-US" sz="4400" dirty="0" smtClean="0"/>
                <a:t>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667000" y="3752844"/>
              <a:ext cx="34919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Multiplicative Seasonal Adjustment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186750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2542374"/>
              </p:ext>
            </p:extLst>
          </p:nvPr>
        </p:nvGraphicFramePr>
        <p:xfrm>
          <a:off x="614363" y="1111250"/>
          <a:ext cx="7915275" cy="3474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reak</a:t>
                      </a:r>
                      <a:endParaRPr lang="en-US" sz="20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Workforce Planning Example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7305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179416"/>
              </p:ext>
            </p:extLst>
          </p:nvPr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5625" y="2466975"/>
            <a:ext cx="5924550" cy="17526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941538" y="4201597"/>
            <a:ext cx="22024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https://www.otexts.org/fpp/7/1</a:t>
            </a:r>
          </a:p>
        </p:txBody>
      </p:sp>
    </p:spTree>
    <p:extLst>
      <p:ext uri="{BB962C8B-B14F-4D97-AF65-F5344CB8AC3E}">
        <p14:creationId xmlns:p14="http://schemas.microsoft.com/office/powerpoint/2010/main" val="25639064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287513"/>
              </p:ext>
            </p:extLst>
          </p:nvPr>
        </p:nvGraphicFramePr>
        <p:xfrm>
          <a:off x="2205037" y="3111500"/>
          <a:ext cx="4224338" cy="1143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1963"/>
                <a:gridCol w="1586606"/>
                <a:gridCol w="1685769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al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alpha 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Resul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0.819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2.048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3.84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.2*(1-.2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6.40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                  10.0000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62469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286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: Two  </a:t>
            </a:r>
            <a:r>
              <a:rPr lang="en-US" dirty="0"/>
              <a:t>Popular Forecast KPI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582690"/>
              </p:ext>
            </p:extLst>
          </p:nvPr>
        </p:nvGraphicFramePr>
        <p:xfrm>
          <a:off x="3114484" y="2397125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/>
                <a:gridCol w="173831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77849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21959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9291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M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 the same units being measured, tells you +/- the prediction error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13139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E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manually calculate RMSE, work the acronym backwards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9136848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/>
                <a:gridCol w="1619979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bsolu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s % of Forecas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6/16 or </a:t>
                      </a:r>
                      <a:r>
                        <a:rPr lang="en-US" b="1" dirty="0" smtClean="0"/>
                        <a:t>3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4/8 or </a:t>
                      </a:r>
                    </a:p>
                    <a:p>
                      <a:pPr algn="ctr"/>
                      <a:r>
                        <a:rPr lang="en-US" b="1" dirty="0" smtClean="0"/>
                        <a:t>50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3/17 or </a:t>
                      </a:r>
                      <a:r>
                        <a:rPr lang="en-US" b="1" dirty="0" smtClean="0"/>
                        <a:t>17%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=2/34 or </a:t>
                      </a:r>
                    </a:p>
                    <a:p>
                      <a:pPr algn="ctr"/>
                      <a:r>
                        <a:rPr lang="en-US" b="1" dirty="0" smtClean="0"/>
                        <a:t>5%</a:t>
                      </a:r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 of Percentag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7%+50%+17%+5%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27.7%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19541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9869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Based Forecast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71463" y="1495424"/>
            <a:ext cx="7772400" cy="4267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Ridership Y is a function of time (t) and noise (error = e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i="1" dirty="0" smtClean="0"/>
              <a:t>Y</a:t>
            </a:r>
            <a:r>
              <a:rPr lang="en-US" i="1" baseline="-25000" dirty="0" smtClean="0"/>
              <a:t>i</a:t>
            </a:r>
            <a:r>
              <a:rPr lang="en-US" i="1" dirty="0" smtClean="0"/>
              <a:t>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*t + e</a:t>
            </a:r>
          </a:p>
          <a:p>
            <a:pPr>
              <a:buFont typeface="Wingdings 2" pitchFamily="18" charset="2"/>
              <a:buNone/>
            </a:pPr>
            <a:endParaRPr lang="en-US" b="1" i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hus we model 3 of the 4 components:</a:t>
            </a:r>
          </a:p>
          <a:p>
            <a:pPr lvl="1"/>
            <a:r>
              <a:rPr lang="en-US" dirty="0" smtClean="0"/>
              <a:t>Level (</a:t>
            </a:r>
            <a:r>
              <a:rPr lang="en-US" i="1" dirty="0" smtClean="0"/>
              <a:t>B</a:t>
            </a:r>
            <a:r>
              <a:rPr lang="en-US" i="1" baseline="-25000" dirty="0" smtClean="0"/>
              <a:t>0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Trend* (</a:t>
            </a:r>
            <a:r>
              <a:rPr lang="en-US" i="1" dirty="0" smtClean="0"/>
              <a:t>B</a:t>
            </a:r>
            <a:r>
              <a:rPr lang="en-US" i="1" baseline="-25000" dirty="0" smtClean="0"/>
              <a:t>1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Noise (</a:t>
            </a:r>
            <a:r>
              <a:rPr lang="en-US" i="1" dirty="0" smtClean="0"/>
              <a:t>e</a:t>
            </a:r>
            <a:r>
              <a:rPr lang="en-US" dirty="0" smtClean="0"/>
              <a:t>)</a:t>
            </a:r>
          </a:p>
        </p:txBody>
      </p:sp>
      <p:pic>
        <p:nvPicPr>
          <p:cNvPr id="22530" name="Picture 2" descr="Image result for amtra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911" y="2573602"/>
            <a:ext cx="3772477" cy="3155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4210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Linear Tren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300" y="1385474"/>
            <a:ext cx="5938837" cy="49867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85912" y="1100048"/>
            <a:ext cx="5929313" cy="6463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latin typeface="Courier New" pitchFamily="49" charset="0"/>
                <a:cs typeface="Courier New" pitchFamily="49" charset="0"/>
              </a:rPr>
              <a:t># produce linear trend model</a:t>
            </a:r>
          </a:p>
          <a:p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ts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~ 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33636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5300" y="1304925"/>
            <a:ext cx="8153400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1952613"/>
            <a:ext cx="6858000" cy="2963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Linear Trend Predictions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785938" y="4810112"/>
            <a:ext cx="4914900" cy="595313"/>
            <a:chOff x="935770" y="5053005"/>
            <a:chExt cx="7370030" cy="595313"/>
          </a:xfrm>
        </p:grpSpPr>
        <p:sp>
          <p:nvSpPr>
            <p:cNvPr id="10" name="Right Arrow 9"/>
            <p:cNvSpPr/>
            <p:nvPr/>
          </p:nvSpPr>
          <p:spPr>
            <a:xfrm>
              <a:off x="935770" y="5053005"/>
              <a:ext cx="735574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11" name="Right Arrow 10"/>
            <p:cNvSpPr/>
            <p:nvPr/>
          </p:nvSpPr>
          <p:spPr>
            <a:xfrm>
              <a:off x="6720387" y="5062530"/>
              <a:ext cx="1585413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Validation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21513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21448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– like amazon’s revenue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sz="quarter" idx="1"/>
          </p:nvPr>
        </p:nvSpPr>
        <p:spPr>
          <a:xfrm>
            <a:off x="600075" y="1181100"/>
            <a:ext cx="7772400" cy="42672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Appropriate model when increase/decrease in series over time is multiplicative 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Replace Y with log(Y) then fit linear regression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 lvl="1">
              <a:buFont typeface="Wingdings 2" pitchFamily="18" charset="2"/>
              <a:buNone/>
            </a:pPr>
            <a:r>
              <a:rPr lang="en-US" i="1" dirty="0" smtClean="0"/>
              <a:t>log(Y</a:t>
            </a:r>
            <a:r>
              <a:rPr lang="en-US" i="1" baseline="-25000" dirty="0" smtClean="0"/>
              <a:t>i</a:t>
            </a:r>
            <a:r>
              <a:rPr lang="en-US" i="1" dirty="0" smtClean="0"/>
              <a:t>)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t + e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lvl="1"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3800475" y="6286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5363" y="2752724"/>
            <a:ext cx="3867150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77484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795837" y="4138607"/>
            <a:ext cx="403383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786312" y="2714613"/>
            <a:ext cx="412908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614363" y="2728913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ural Logs – not to h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12" y="1882866"/>
            <a:ext cx="2714625" cy="388841"/>
          </a:xfrm>
        </p:spPr>
        <p:txBody>
          <a:bodyPr/>
          <a:lstStyle/>
          <a:p>
            <a:r>
              <a:rPr lang="en-US" dirty="0" smtClean="0"/>
              <a:t>Where  “e” = ~2.718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52132" y="1243003"/>
            <a:ext cx="86397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u="sng" dirty="0" smtClean="0"/>
              <a:t>“e” raised what power equals the time series value</a:t>
            </a:r>
            <a:endParaRPr lang="en-US" sz="3200" u="sng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81038" y="2754870"/>
            <a:ext cx="2417328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2)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0.6931472</a:t>
            </a:r>
            <a:endParaRPr kumimoji="0" lang="en-US" altLang="en-US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581025" y="4124332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61988" y="4178865"/>
            <a:ext cx="2231380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13)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</a:t>
            </a:r>
            <a:r>
              <a:rPr lang="en-US" altLang="en-US" sz="2400" dirty="0">
                <a:solidFill>
                  <a:srgbClr val="000000"/>
                </a:solidFill>
                <a:latin typeface="Lucida Console" panose="020B0609040504020204" pitchFamily="49" charset="0"/>
              </a:rPr>
              <a:t>2.564949</a:t>
            </a:r>
            <a:endParaRPr lang="en-US" altLang="en-US" sz="4800" dirty="0">
              <a:latin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86451" y="2700325"/>
            <a:ext cx="19639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0.693 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2.719</a:t>
            </a:r>
            <a:r>
              <a:rPr lang="en-US" baseline="30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0.6931472)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1.99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53114" y="4081450"/>
            <a:ext cx="22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2.56949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2.719(2.56949)  </a:t>
            </a:r>
          </a:p>
          <a:p>
            <a:r>
              <a:rPr lang="en-US" altLang="en-US" dirty="0">
                <a:latin typeface="Consolas" panose="020B0609020204030204" pitchFamily="49" charset="0"/>
                <a:cs typeface="Consolas" panose="020B0609020204030204" pitchFamily="49" charset="0"/>
              </a:rPr>
              <a:t>13.05568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4363" y="5486400"/>
            <a:ext cx="8229600" cy="4572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on’t worry, R handles with the log() func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09052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- forecast errors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3058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smtClean="0"/>
              <a:t>Note that performance measures in standard linear regression software are not in original units 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Model forecasts will be in the form log(</a:t>
            </a:r>
            <a:r>
              <a:rPr lang="en-US" b="1" i="1" smtClean="0"/>
              <a:t>Y</a:t>
            </a:r>
            <a:r>
              <a:rPr lang="en-US" b="1" smtClean="0"/>
              <a:t>)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Return to original units by taking exponent of model forecasts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Calculate standard deviation of these forecast errors to get RMSE</a:t>
            </a:r>
          </a:p>
        </p:txBody>
      </p:sp>
    </p:spTree>
    <p:extLst>
      <p:ext uri="{BB962C8B-B14F-4D97-AF65-F5344CB8AC3E}">
        <p14:creationId xmlns:p14="http://schemas.microsoft.com/office/powerpoint/2010/main" val="149261013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 (AGAIN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31595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Trends Polynomial Trend	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905000"/>
            <a:ext cx="77724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smtClean="0"/>
              <a:t>Add additional predictors as appropriate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or example, for quadratic relationship add a t</a:t>
            </a:r>
            <a:r>
              <a:rPr lang="en-US" b="1" baseline="30000" smtClean="0"/>
              <a:t>2</a:t>
            </a:r>
            <a:r>
              <a:rPr lang="en-US" b="1" smtClean="0"/>
              <a:t> predictor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it linear regression using both t and t</a:t>
            </a:r>
            <a:r>
              <a:rPr lang="en-US" b="1" baseline="30000" smtClean="0"/>
              <a:t>2</a:t>
            </a:r>
            <a:endParaRPr lang="en-US" b="1" smtClean="0"/>
          </a:p>
        </p:txBody>
      </p:sp>
    </p:spTree>
    <p:extLst>
      <p:ext uri="{BB962C8B-B14F-4D97-AF65-F5344CB8AC3E}">
        <p14:creationId xmlns:p14="http://schemas.microsoft.com/office/powerpoint/2010/main" val="2838133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8650" y="2833689"/>
            <a:ext cx="7162800" cy="2745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328612" y="1009650"/>
            <a:ext cx="8153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# fit quadratic trend using function I(), which treats an # object "as is".</a:t>
            </a:r>
          </a:p>
          <a:p>
            <a:endParaRPr lang="en-US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ts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~ trend + I(trend^2))</a:t>
            </a:r>
          </a:p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summary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</a:t>
            </a:r>
          </a:p>
          <a:p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  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Quadratic Trend</a:t>
            </a:r>
          </a:p>
        </p:txBody>
      </p:sp>
      <p:sp>
        <p:nvSpPr>
          <p:cNvPr id="2" name="Rectangle 1"/>
          <p:cNvSpPr/>
          <p:nvPr/>
        </p:nvSpPr>
        <p:spPr>
          <a:xfrm>
            <a:off x="557213" y="5743581"/>
            <a:ext cx="8058150" cy="40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ue to time constraints, please review </a:t>
            </a:r>
            <a:r>
              <a:rPr lang="en-US" dirty="0" err="1" smtClean="0"/>
              <a:t>pg</a:t>
            </a:r>
            <a:r>
              <a:rPr lang="en-US" dirty="0" smtClean="0"/>
              <a:t> 408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003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ling Seasonality in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64369" y="1214438"/>
            <a:ext cx="7815263" cy="47148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ust make dummy variables for seasons…but beware of multi-collinearity!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729816"/>
              </p:ext>
            </p:extLst>
          </p:nvPr>
        </p:nvGraphicFramePr>
        <p:xfrm>
          <a:off x="652462" y="1754183"/>
          <a:ext cx="251345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7255"/>
                <a:gridCol w="891985"/>
                <a:gridCol w="72421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450480"/>
              </p:ext>
            </p:extLst>
          </p:nvPr>
        </p:nvGraphicFramePr>
        <p:xfrm>
          <a:off x="609602" y="3382953"/>
          <a:ext cx="753427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" name="Elbow Connector 10"/>
          <p:cNvCxnSpPr/>
          <p:nvPr/>
        </p:nvCxnSpPr>
        <p:spPr>
          <a:xfrm rot="16200000" flipH="1">
            <a:off x="2836067" y="2464592"/>
            <a:ext cx="1014420" cy="628652"/>
          </a:xfrm>
          <a:prstGeom prst="bentConnector3">
            <a:avLst>
              <a:gd name="adj1" fmla="val 7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/>
          <p:nvPr/>
        </p:nvCxnSpPr>
        <p:spPr>
          <a:xfrm>
            <a:off x="3043238" y="2686046"/>
            <a:ext cx="1628775" cy="600079"/>
          </a:xfrm>
          <a:prstGeom prst="bentConnector3">
            <a:avLst>
              <a:gd name="adj1" fmla="val 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>
            <a:off x="3043238" y="3057521"/>
            <a:ext cx="2557462" cy="257179"/>
          </a:xfrm>
          <a:prstGeom prst="bentConnector3">
            <a:avLst>
              <a:gd name="adj1" fmla="val 10027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42938" y="6029330"/>
            <a:ext cx="7958137" cy="285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 avoid multi-collinearity, there is no Dec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525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al model, Amtrak data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30480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Incorporates trend and seasonality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13 predictors 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11 monthly dummie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 = trend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</a:t>
            </a:r>
            <a:r>
              <a:rPr lang="en-US" baseline="30000" dirty="0" smtClean="0"/>
              <a:t>2</a:t>
            </a:r>
            <a:r>
              <a:rPr lang="en-US" dirty="0" smtClean="0"/>
              <a:t>  = quadratic trend ( to get the positive and negative trend slopes)</a:t>
            </a:r>
          </a:p>
        </p:txBody>
      </p:sp>
      <p:sp>
        <p:nvSpPr>
          <p:cNvPr id="4" name="Rectangle 3"/>
          <p:cNvSpPr/>
          <p:nvPr/>
        </p:nvSpPr>
        <p:spPr>
          <a:xfrm>
            <a:off x="142875" y="5334000"/>
            <a:ext cx="8686799" cy="6463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lm.trend.season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&lt;-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slm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t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~ trend +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I(trend^2) + season)</a:t>
            </a:r>
          </a:p>
        </p:txBody>
      </p:sp>
    </p:spTree>
    <p:extLst>
      <p:ext uri="{BB962C8B-B14F-4D97-AF65-F5344CB8AC3E}">
        <p14:creationId xmlns:p14="http://schemas.microsoft.com/office/powerpoint/2010/main" val="14189297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1828800" y="533400"/>
            <a:ext cx="6477000" cy="868362"/>
          </a:xfrm>
        </p:spPr>
        <p:txBody>
          <a:bodyPr/>
          <a:lstStyle/>
          <a:p>
            <a:r>
              <a:rPr lang="en-US" sz="3600" dirty="0" smtClean="0"/>
              <a:t>Output of full model</a:t>
            </a:r>
          </a:p>
        </p:txBody>
      </p:sp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4962" y="1052512"/>
            <a:ext cx="5689600" cy="466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557213" y="5743581"/>
            <a:ext cx="8058150" cy="40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ue to time constraints, please review </a:t>
            </a:r>
            <a:r>
              <a:rPr lang="en-US" dirty="0" err="1" smtClean="0"/>
              <a:t>pg</a:t>
            </a:r>
            <a:r>
              <a:rPr lang="en-US" dirty="0" smtClean="0"/>
              <a:t> 410-12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25965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1450" y="365126"/>
            <a:ext cx="8343900" cy="591477"/>
          </a:xfrm>
        </p:spPr>
        <p:txBody>
          <a:bodyPr/>
          <a:lstStyle/>
          <a:p>
            <a:r>
              <a:rPr lang="en-US" dirty="0" smtClean="0"/>
              <a:t>Regression Based Forecasting is great for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443383"/>
              </p:ext>
            </p:extLst>
          </p:nvPr>
        </p:nvGraphicFramePr>
        <p:xfrm>
          <a:off x="338137" y="1625591"/>
          <a:ext cx="8338790" cy="272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7153"/>
                <a:gridCol w="1327153"/>
                <a:gridCol w="1020562"/>
                <a:gridCol w="640257"/>
                <a:gridCol w="475615"/>
                <a:gridCol w="514668"/>
                <a:gridCol w="483660"/>
                <a:gridCol w="506222"/>
                <a:gridCol w="1038961"/>
                <a:gridCol w="100453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ummer Prom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liday Prom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51372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533400" y="274638"/>
            <a:ext cx="8153400" cy="868362"/>
          </a:xfrm>
        </p:spPr>
        <p:txBody>
          <a:bodyPr/>
          <a:lstStyle/>
          <a:p>
            <a:r>
              <a:rPr lang="en-US" sz="3200" smtClean="0"/>
              <a:t>Summary – Regression Based Forecasting</a:t>
            </a:r>
          </a:p>
        </p:txBody>
      </p:sp>
      <p:sp>
        <p:nvSpPr>
          <p:cNvPr id="3686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4267200"/>
          </a:xfrm>
        </p:spPr>
        <p:txBody>
          <a:bodyPr/>
          <a:lstStyle/>
          <a:p>
            <a:r>
              <a:rPr lang="en-US" dirty="0" smtClean="0"/>
              <a:t>Can use linear regression for exponential models (use logs) and polynomials (exponentiation)</a:t>
            </a:r>
          </a:p>
          <a:p>
            <a:r>
              <a:rPr lang="en-US" dirty="0" smtClean="0"/>
              <a:t>For seasonality, use categorical variable (make dummies)</a:t>
            </a:r>
          </a:p>
          <a:p>
            <a:r>
              <a:rPr lang="en-US" dirty="0" smtClean="0"/>
              <a:t>For Events, use more dummy variables</a:t>
            </a:r>
          </a:p>
          <a:p>
            <a:r>
              <a:rPr lang="en-US" dirty="0" smtClean="0"/>
              <a:t>Incorporate autocorrelation by modeling it, then using those error forecasts in the main model</a:t>
            </a:r>
          </a:p>
        </p:txBody>
      </p:sp>
    </p:spTree>
    <p:extLst>
      <p:ext uri="{BB962C8B-B14F-4D97-AF65-F5344CB8AC3E}">
        <p14:creationId xmlns:p14="http://schemas.microsoft.com/office/powerpoint/2010/main" val="52731781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6_TK_RegressionModel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05648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ethod 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orkforce Planning 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28526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utocorrelation</a:t>
            </a:r>
          </a:p>
        </p:txBody>
      </p:sp>
      <p:sp>
        <p:nvSpPr>
          <p:cNvPr id="25603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42672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Unlike cross-sectional data, time-series values are typically correlated with nearby values (“autocorrelation”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Ordinary regression does not account for this</a:t>
            </a:r>
          </a:p>
        </p:txBody>
      </p:sp>
    </p:spTree>
    <p:extLst>
      <p:ext uri="{BB962C8B-B14F-4D97-AF65-F5344CB8AC3E}">
        <p14:creationId xmlns:p14="http://schemas.microsoft.com/office/powerpoint/2010/main" val="87513446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mputing autocorrelation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smtClean="0"/>
              <a:t>Create “lagged” series 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Copy of the original series, offset by one or more timer periods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Compute correlation between original series and lagged series</a:t>
            </a:r>
          </a:p>
          <a:p>
            <a:pPr lvl="1">
              <a:buFont typeface="Arial" charset="0"/>
              <a:buChar char="•"/>
            </a:pPr>
            <a:r>
              <a:rPr lang="en-US" smtClean="0"/>
              <a:t>Lag-1, lag-2, etc.</a:t>
            </a:r>
          </a:p>
        </p:txBody>
      </p:sp>
    </p:spTree>
    <p:extLst>
      <p:ext uri="{BB962C8B-B14F-4D97-AF65-F5344CB8AC3E}">
        <p14:creationId xmlns:p14="http://schemas.microsoft.com/office/powerpoint/2010/main" val="426582352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mtClean="0"/>
              <a:t>Amtrak – original series and Lag-1, Lag-2</a:t>
            </a:r>
          </a:p>
        </p:txBody>
      </p:sp>
      <p:pic>
        <p:nvPicPr>
          <p:cNvPr id="27651" name="Picture 2" descr="Amtrak-Lagged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1200" y="1933575"/>
            <a:ext cx="5181600" cy="299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596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IMA - Stationa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2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4338" y="1257211"/>
            <a:ext cx="82867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404B5A"/>
                </a:solidFill>
                <a:latin typeface="Avenir_Next_LT_Pro_Regular"/>
              </a:rPr>
              <a:t>Fitting an ARIMA model requires the series to be </a:t>
            </a:r>
            <a:r>
              <a:rPr lang="en-US" b="1" dirty="0">
                <a:solidFill>
                  <a:srgbClr val="404B5A"/>
                </a:solidFill>
                <a:latin typeface="Avenir_Next_LT_Pro_Regular"/>
              </a:rPr>
              <a:t>stationary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. A series is said to be stationary when its mean, variance, and </a:t>
            </a:r>
            <a:r>
              <a:rPr lang="en-US" dirty="0" err="1">
                <a:solidFill>
                  <a:srgbClr val="404B5A"/>
                </a:solidFill>
                <a:latin typeface="Avenir_Next_LT_Pro_Regular"/>
              </a:rPr>
              <a:t>autocovariance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 are time invariant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025" y="2043112"/>
            <a:ext cx="7134225" cy="35718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14400" y="5472113"/>
            <a:ext cx="7472363" cy="5143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More simply non-stationary means the </a:t>
            </a:r>
            <a:r>
              <a:rPr lang="en-US" sz="2000" dirty="0"/>
              <a:t>average </a:t>
            </a:r>
            <a:r>
              <a:rPr lang="en-US" sz="2000" dirty="0" smtClean="0"/>
              <a:t>values change </a:t>
            </a:r>
            <a:r>
              <a:rPr lang="en-US" sz="2000" dirty="0"/>
              <a:t>through time, levels change, etc.</a:t>
            </a:r>
          </a:p>
        </p:txBody>
      </p:sp>
    </p:spTree>
    <p:extLst>
      <p:ext uri="{BB962C8B-B14F-4D97-AF65-F5344CB8AC3E}">
        <p14:creationId xmlns:p14="http://schemas.microsoft.com/office/powerpoint/2010/main" val="342770285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IMA Analog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3875" y="1104900"/>
            <a:ext cx="5545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rima</a:t>
            </a:r>
            <a:r>
              <a:rPr lang="en-US" dirty="0"/>
              <a:t> forecasts using a combination of p, d, q inpu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5617" y="3148755"/>
            <a:ext cx="3257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a tire rolls across a bumpy road, one can adjust the tread, air pressure, and diameter to get the smoothest ride.  ARIMA adjust these inputs to get a close fit to the bumpy road.  Think of these inputs as similar to the PDQ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4736306" y="2053631"/>
            <a:ext cx="4067175" cy="3917157"/>
            <a:chOff x="3952875" y="2663231"/>
            <a:chExt cx="4067175" cy="391715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875" y="2663231"/>
              <a:ext cx="4067175" cy="3917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8" name="Group 7"/>
            <p:cNvGrpSpPr/>
            <p:nvPr/>
          </p:nvGrpSpPr>
          <p:grpSpPr>
            <a:xfrm>
              <a:off x="4217193" y="5298280"/>
              <a:ext cx="519113" cy="519113"/>
              <a:chOff x="1000125" y="3476625"/>
              <a:chExt cx="1038225" cy="1038225"/>
            </a:xfrm>
          </p:grpSpPr>
          <p:sp>
            <p:nvSpPr>
              <p:cNvPr id="6" name="Oval 5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822155" y="4226524"/>
              <a:ext cx="790572" cy="790572"/>
              <a:chOff x="1000125" y="3476625"/>
              <a:chExt cx="1038225" cy="1038225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232797" y="5474491"/>
              <a:ext cx="259556" cy="259556"/>
              <a:chOff x="1000125" y="3476625"/>
              <a:chExt cx="1038225" cy="1038225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4" name="Straight Arrow Connector 23"/>
            <p:cNvCxnSpPr>
              <a:stCxn id="6" idx="7"/>
              <a:endCxn id="21" idx="2"/>
            </p:cNvCxnSpPr>
            <p:nvPr/>
          </p:nvCxnSpPr>
          <p:spPr>
            <a:xfrm>
              <a:off x="4660284" y="5374302"/>
              <a:ext cx="572513" cy="22996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21" idx="6"/>
            </p:cNvCxnSpPr>
            <p:nvPr/>
          </p:nvCxnSpPr>
          <p:spPr>
            <a:xfrm flipV="1">
              <a:off x="5492353" y="4766870"/>
              <a:ext cx="329802" cy="83739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523875" y="1474232"/>
            <a:ext cx="3209925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p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autoregressive term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d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nonseasona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differences, an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q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lagged forecast errors in the prediction equation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23875" y="2423220"/>
            <a:ext cx="3495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Good Reference: </a:t>
            </a:r>
            <a:endParaRPr lang="en-US" sz="1400" dirty="0">
              <a:hlinkClick r:id="rId3"/>
            </a:endParaRPr>
          </a:p>
          <a:p>
            <a:r>
              <a:rPr lang="en-US" sz="1400" dirty="0">
                <a:hlinkClick r:id="rId3"/>
              </a:rPr>
              <a:t>http://people.duke.edu/~rnau/411arim.htm</a:t>
            </a:r>
            <a:endParaRPr lang="en-US" sz="1400" dirty="0"/>
          </a:p>
        </p:txBody>
      </p:sp>
      <p:sp>
        <p:nvSpPr>
          <p:cNvPr id="3" name="Rectangle 2"/>
          <p:cNvSpPr/>
          <p:nvPr/>
        </p:nvSpPr>
        <p:spPr>
          <a:xfrm>
            <a:off x="671512" y="5500687"/>
            <a:ext cx="3186113" cy="6429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Auto.arima</a:t>
            </a:r>
            <a:r>
              <a:rPr lang="en-US" sz="1400" dirty="0" smtClean="0"/>
              <a:t>() will adjust lags and p/d/q to extract more of the auto correlation (information shared between row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9201070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772525" cy="591477"/>
          </a:xfrm>
        </p:spPr>
        <p:txBody>
          <a:bodyPr/>
          <a:lstStyle/>
          <a:p>
            <a:r>
              <a:rPr lang="en-US" dirty="0" smtClean="0"/>
              <a:t>Before you Embark on Forecasting - Random walks	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sz="quarter" idx="1"/>
          </p:nvPr>
        </p:nvSpPr>
        <p:spPr>
          <a:xfrm>
            <a:off x="200025" y="1111347"/>
            <a:ext cx="8715375" cy="73174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 dirty="0" smtClean="0"/>
              <a:t>Before forecasting, consider “is the time series predictable or is it a random walk?</a:t>
            </a:r>
          </a:p>
        </p:txBody>
      </p:sp>
      <p:pic>
        <p:nvPicPr>
          <p:cNvPr id="26626" name="Picture 2" descr="Image result for random wal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179" y="2214562"/>
            <a:ext cx="3441584" cy="407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0" y="2557462"/>
            <a:ext cx="53435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When </a:t>
            </a:r>
            <a:r>
              <a:rPr lang="en-US" sz="2400" dirty="0"/>
              <a:t>we do any forecasting first try to do an AR(1) </a:t>
            </a:r>
            <a:r>
              <a:rPr lang="en-US" sz="2400" dirty="0" smtClean="0"/>
              <a:t>model.</a:t>
            </a:r>
          </a:p>
          <a:p>
            <a:endParaRPr lang="en-US" dirty="0"/>
          </a:p>
          <a:p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st </a:t>
            </a:r>
            <a:r>
              <a:rPr lang="en-US" dirty="0"/>
              <a:t>that slope = 1 in an AR(1) model (i.e. that the forecast for a period is the most recently-observed value</a:t>
            </a:r>
            <a:r>
              <a:rPr lang="en-US" dirty="0" smtClean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the beta coefficient has a small p-value then the values are predictable and you should do a forecast (not a random walk)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28625" y="1900238"/>
            <a:ext cx="82867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51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2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88</TotalTime>
  <Words>3573</Words>
  <Application>Microsoft Office PowerPoint</Application>
  <PresentationFormat>On-screen Show (4:3)</PresentationFormat>
  <Paragraphs>987</Paragraphs>
  <Slides>8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93" baseType="lpstr">
      <vt:lpstr>Arial</vt:lpstr>
      <vt:lpstr>Avenir_Next_LT_Pro_Regular</vt:lpstr>
      <vt:lpstr>Calibri</vt:lpstr>
      <vt:lpstr>Calibri Light</vt:lpstr>
      <vt:lpstr>Cambria Math</vt:lpstr>
      <vt:lpstr>Consolas</vt:lpstr>
      <vt:lpstr>Courier New</vt:lpstr>
      <vt:lpstr>Lucida Console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Monthly Amtrak Ridership</vt:lpstr>
      <vt:lpstr>Amtrak Actuals</vt:lpstr>
      <vt:lpstr>Amtrak Actuals</vt:lpstr>
      <vt:lpstr>Amtrak Actuals</vt:lpstr>
      <vt:lpstr>Zoom to 3 years (1997-1999)</vt:lpstr>
      <vt:lpstr>PowerPoint Presentation</vt:lpstr>
      <vt:lpstr>Open 1_amtrak.R</vt:lpstr>
      <vt:lpstr>Machine Learning Partitioning </vt:lpstr>
      <vt:lpstr>Time Series Partitioning is not random</vt:lpstr>
      <vt:lpstr>Summary </vt:lpstr>
      <vt:lpstr>What types of business problems can be forecasted?</vt:lpstr>
      <vt:lpstr>What types of business problems can be forecasted?</vt:lpstr>
      <vt:lpstr>Open 1_getRevenueData.R</vt:lpstr>
      <vt:lpstr>Inspecting meta data.</vt:lpstr>
      <vt:lpstr>Inspecting meta data.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Drift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easonal Adjustment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But first averages…</vt:lpstr>
      <vt:lpstr>But first averages…</vt:lpstr>
      <vt:lpstr>Holt Winters</vt:lpstr>
      <vt:lpstr>Review: Two  Popular Forecast KPIs</vt:lpstr>
      <vt:lpstr>RMSE</vt:lpstr>
      <vt:lpstr>RMSE</vt:lpstr>
      <vt:lpstr>MAPE</vt:lpstr>
      <vt:lpstr>Open 4_HoltWintersWMT.R</vt:lpstr>
      <vt:lpstr>Agenda</vt:lpstr>
      <vt:lpstr>Regression Based Forecasting</vt:lpstr>
      <vt:lpstr>Time Series Linear Trend</vt:lpstr>
      <vt:lpstr>PowerPoint Presentation</vt:lpstr>
      <vt:lpstr>PowerPoint Presentation</vt:lpstr>
      <vt:lpstr>Exponential Trend – like amazon’s revenue</vt:lpstr>
      <vt:lpstr>Natural Logs – not to hard</vt:lpstr>
      <vt:lpstr>Exponential trend - forecast errors</vt:lpstr>
      <vt:lpstr>PowerPoint Presentation</vt:lpstr>
      <vt:lpstr>Other Trends Polynomial Trend </vt:lpstr>
      <vt:lpstr>PowerPoint Presentation</vt:lpstr>
      <vt:lpstr>Handling Seasonality in Regression</vt:lpstr>
      <vt:lpstr>Final model, Amtrak data</vt:lpstr>
      <vt:lpstr>Output of full model</vt:lpstr>
      <vt:lpstr>Regression Based Forecasting is great for events</vt:lpstr>
      <vt:lpstr>Summary – Regression Based Forecasting</vt:lpstr>
      <vt:lpstr>Open 6_TK_RegressionModel.R</vt:lpstr>
      <vt:lpstr>Agenda</vt:lpstr>
      <vt:lpstr>Autocorrelation</vt:lpstr>
      <vt:lpstr>Computing autocorrelation</vt:lpstr>
      <vt:lpstr>Amtrak – original series and Lag-1, Lag-2</vt:lpstr>
      <vt:lpstr>ARIMA - Stationary</vt:lpstr>
      <vt:lpstr>ARIMA Analogy</vt:lpstr>
      <vt:lpstr>Before you Embark on Forecasting - Random walk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33</cp:revision>
  <dcterms:created xsi:type="dcterms:W3CDTF">2018-05-11T14:06:45Z</dcterms:created>
  <dcterms:modified xsi:type="dcterms:W3CDTF">2018-07-23T02:27:30Z</dcterms:modified>
</cp:coreProperties>
</file>